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6"/>
  </p:notesMasterIdLst>
  <p:handoutMasterIdLst>
    <p:handoutMasterId r:id="rId17"/>
  </p:handoutMasterIdLst>
  <p:sldIdLst>
    <p:sldId id="1277" r:id="rId3"/>
    <p:sldId id="1293" r:id="rId4"/>
    <p:sldId id="1294" r:id="rId5"/>
    <p:sldId id="1296" r:id="rId6"/>
    <p:sldId id="1383" r:id="rId7"/>
    <p:sldId id="1386" r:id="rId8"/>
    <p:sldId id="1384" r:id="rId9"/>
    <p:sldId id="1373" r:id="rId10"/>
    <p:sldId id="1385" r:id="rId11"/>
    <p:sldId id="1343" r:id="rId12"/>
    <p:sldId id="1344" r:id="rId13"/>
    <p:sldId id="1345" r:id="rId14"/>
    <p:sldId id="1346" r:id="rId15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6"/>
            <p14:sldId id="1384"/>
            <p14:sldId id="1373"/>
            <p14:sldId id="1385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6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6</a:t>
            </a:r>
            <a:r>
              <a:rPr lang="cs-CZ" b="1" dirty="0" smtClean="0"/>
              <a:t>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533277"/>
              </p:ext>
            </p:extLst>
          </p:nvPr>
        </p:nvGraphicFramePr>
        <p:xfrm>
          <a:off x="332646" y="735378"/>
          <a:ext cx="11405086" cy="5036646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,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ále omezená, odlišně v různých ZZ dle konkrétní situace. I přes to občas problém s příjm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nízk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plian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u vůči neočkovaným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tento týden mírně uvolněn, onkologická aj. neodkladná operativa zcela bez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.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zatím s dostatečnou kapacitou při spíše nižším počtu příjmů. Část navýšených kapacit uzavřena, na úkor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ale udržována částečně navýšená kapacita standardní i IP péče v očekávání další vlny epidemie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časně pozastavena činnosti někter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jednotek, část COVID+ jednotek intenzivní péče pracuje nyní v hybridním režimu. Dočasně parciálně nebo plně obnovena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957695"/>
              </p:ext>
            </p:extLst>
          </p:nvPr>
        </p:nvGraphicFramePr>
        <p:xfrm>
          <a:off x="279292" y="797060"/>
          <a:ext cx="11587543" cy="5880136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ásadní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relativně stabilní, snižuje se počet pac. na standardních odd., v IP postupně taktéž v porovnání s předchozím týdnem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tlak na následnou péči. Vš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 je za hranou svých možností a kapacit, převádí již druhým rokem strašlivá kvanta dovolené a osobního voln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438078"/>
              </p:ext>
            </p:extLst>
          </p:nvPr>
        </p:nvGraphicFramePr>
        <p:xfrm>
          <a:off x="376606" y="805063"/>
          <a:ext cx="11519385" cy="561331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32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9698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největší zátěž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ecně stran personálu – spousta PN (mim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chody ze ZZ- Někteří nechtějí zažít další vlnu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7471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9765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é %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, ECMO kapacita dostatečná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cho pře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kronovo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ouří?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2762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jvětší zátěž zatím stále nemocnice Nové Město n/M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11575"/>
              </p:ext>
            </p:extLst>
          </p:nvPr>
        </p:nvGraphicFramePr>
        <p:xfrm>
          <a:off x="434413" y="847512"/>
          <a:ext cx="11435203" cy="506634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C19 případů, stále poměrně vysoké počty na JIP. Očekávaný výpadek personálu v souvislosti s šířením varianty omikron způsobí velké problémy se zajištěním péče. Podpora HZS/AČR nadále zásadní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, nelze spustit elektivní operativu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dále identický problém – ARO/JIP zaplněny velkým množstvím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, většina z nich nadále na UPV a/anebo ECMO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6</a:t>
            </a:r>
            <a:r>
              <a:rPr lang="cs-CZ" b="1" dirty="0" smtClean="0"/>
              <a:t>.1.2022 00:32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17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277991"/>
              </p:ext>
            </p:extLst>
          </p:nvPr>
        </p:nvGraphicFramePr>
        <p:xfrm>
          <a:off x="332818" y="975941"/>
          <a:ext cx="9250798" cy="5371993"/>
        </p:xfrm>
        <a:graphic>
          <a:graphicData uri="http://schemas.openxmlformats.org/drawingml/2006/table">
            <a:tbl>
              <a:tblPr/>
              <a:tblGrid>
                <a:gridCol w="1963708">
                  <a:extLst>
                    <a:ext uri="{9D8B030D-6E8A-4147-A177-3AD203B41FA5}">
                      <a16:colId xmlns:a16="http://schemas.microsoft.com/office/drawing/2014/main" val="1646062397"/>
                    </a:ext>
                  </a:extLst>
                </a:gridCol>
                <a:gridCol w="1202269">
                  <a:extLst>
                    <a:ext uri="{9D8B030D-6E8A-4147-A177-3AD203B41FA5}">
                      <a16:colId xmlns:a16="http://schemas.microsoft.com/office/drawing/2014/main" val="2247273597"/>
                    </a:ext>
                  </a:extLst>
                </a:gridCol>
                <a:gridCol w="1112100">
                  <a:extLst>
                    <a:ext uri="{9D8B030D-6E8A-4147-A177-3AD203B41FA5}">
                      <a16:colId xmlns:a16="http://schemas.microsoft.com/office/drawing/2014/main" val="1973829713"/>
                    </a:ext>
                  </a:extLst>
                </a:gridCol>
                <a:gridCol w="1108760">
                  <a:extLst>
                    <a:ext uri="{9D8B030D-6E8A-4147-A177-3AD203B41FA5}">
                      <a16:colId xmlns:a16="http://schemas.microsoft.com/office/drawing/2014/main" val="2531610625"/>
                    </a:ext>
                  </a:extLst>
                </a:gridCol>
                <a:gridCol w="1148835">
                  <a:extLst>
                    <a:ext uri="{9D8B030D-6E8A-4147-A177-3AD203B41FA5}">
                      <a16:colId xmlns:a16="http://schemas.microsoft.com/office/drawing/2014/main" val="1960048237"/>
                    </a:ext>
                  </a:extLst>
                </a:gridCol>
                <a:gridCol w="1152175">
                  <a:extLst>
                    <a:ext uri="{9D8B030D-6E8A-4147-A177-3AD203B41FA5}">
                      <a16:colId xmlns:a16="http://schemas.microsoft.com/office/drawing/2014/main" val="419901284"/>
                    </a:ext>
                  </a:extLst>
                </a:gridCol>
                <a:gridCol w="1562951">
                  <a:extLst>
                    <a:ext uri="{9D8B030D-6E8A-4147-A177-3AD203B41FA5}">
                      <a16:colId xmlns:a16="http://schemas.microsoft.com/office/drawing/2014/main" val="1668085124"/>
                    </a:ext>
                  </a:extLst>
                </a:gridCol>
              </a:tblGrid>
              <a:tr h="18527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2365056"/>
                  </a:ext>
                </a:extLst>
              </a:tr>
              <a:tr h="18527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383396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549181"/>
                  </a:ext>
                </a:extLst>
              </a:tr>
              <a:tr h="1824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494717"/>
                  </a:ext>
                </a:extLst>
              </a:tr>
              <a:tr h="66830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282223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1119484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7322955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6913362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166457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5751708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613319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966264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2911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733212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5367428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2272596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486030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8038326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746177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3655351"/>
                  </a:ext>
                </a:extLst>
              </a:tr>
              <a:tr h="18248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5038798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528173"/>
                  </a:ext>
                </a:extLst>
              </a:tr>
              <a:tr h="18248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756469"/>
                  </a:ext>
                </a:extLst>
              </a:tr>
              <a:tr h="1824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113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707911"/>
              </p:ext>
            </p:extLst>
          </p:nvPr>
        </p:nvGraphicFramePr>
        <p:xfrm>
          <a:off x="404448" y="975955"/>
          <a:ext cx="8968151" cy="5332069"/>
        </p:xfrm>
        <a:graphic>
          <a:graphicData uri="http://schemas.openxmlformats.org/drawingml/2006/table">
            <a:tbl>
              <a:tblPr/>
              <a:tblGrid>
                <a:gridCol w="1903709">
                  <a:extLst>
                    <a:ext uri="{9D8B030D-6E8A-4147-A177-3AD203B41FA5}">
                      <a16:colId xmlns:a16="http://schemas.microsoft.com/office/drawing/2014/main" val="775735095"/>
                    </a:ext>
                  </a:extLst>
                </a:gridCol>
                <a:gridCol w="1165536">
                  <a:extLst>
                    <a:ext uri="{9D8B030D-6E8A-4147-A177-3AD203B41FA5}">
                      <a16:colId xmlns:a16="http://schemas.microsoft.com/office/drawing/2014/main" val="1211155583"/>
                    </a:ext>
                  </a:extLst>
                </a:gridCol>
                <a:gridCol w="1078121">
                  <a:extLst>
                    <a:ext uri="{9D8B030D-6E8A-4147-A177-3AD203B41FA5}">
                      <a16:colId xmlns:a16="http://schemas.microsoft.com/office/drawing/2014/main" val="3933795941"/>
                    </a:ext>
                  </a:extLst>
                </a:gridCol>
                <a:gridCol w="1074883">
                  <a:extLst>
                    <a:ext uri="{9D8B030D-6E8A-4147-A177-3AD203B41FA5}">
                      <a16:colId xmlns:a16="http://schemas.microsoft.com/office/drawing/2014/main" val="1199305661"/>
                    </a:ext>
                  </a:extLst>
                </a:gridCol>
                <a:gridCol w="1113734">
                  <a:extLst>
                    <a:ext uri="{9D8B030D-6E8A-4147-A177-3AD203B41FA5}">
                      <a16:colId xmlns:a16="http://schemas.microsoft.com/office/drawing/2014/main" val="630361071"/>
                    </a:ext>
                  </a:extLst>
                </a:gridCol>
                <a:gridCol w="1116972">
                  <a:extLst>
                    <a:ext uri="{9D8B030D-6E8A-4147-A177-3AD203B41FA5}">
                      <a16:colId xmlns:a16="http://schemas.microsoft.com/office/drawing/2014/main" val="3738241963"/>
                    </a:ext>
                  </a:extLst>
                </a:gridCol>
                <a:gridCol w="1515196">
                  <a:extLst>
                    <a:ext uri="{9D8B030D-6E8A-4147-A177-3AD203B41FA5}">
                      <a16:colId xmlns:a16="http://schemas.microsoft.com/office/drawing/2014/main" val="1087094818"/>
                    </a:ext>
                  </a:extLst>
                </a:gridCol>
              </a:tblGrid>
              <a:tr h="17335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981572"/>
                  </a:ext>
                </a:extLst>
              </a:tr>
              <a:tr h="174123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4548250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8431854"/>
                  </a:ext>
                </a:extLst>
              </a:tr>
              <a:tr h="1733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434286"/>
                  </a:ext>
                </a:extLst>
              </a:tr>
              <a:tr h="62808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626324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317616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5286543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279815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4382946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1912489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794198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0195820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0586409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7833214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7997025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692488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792345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398855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842516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6218328"/>
                  </a:ext>
                </a:extLst>
              </a:tr>
              <a:tr h="173352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398026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731893"/>
                  </a:ext>
                </a:extLst>
              </a:tr>
              <a:tr h="17335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741855"/>
                  </a:ext>
                </a:extLst>
              </a:tr>
              <a:tr h="17335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6079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/>
              <a:t>6</a:t>
            </a:r>
            <a:r>
              <a:rPr lang="cs-CZ" b="1" dirty="0" smtClean="0"/>
              <a:t>.1.2022 00:32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197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081425"/>
              </p:ext>
            </p:extLst>
          </p:nvPr>
        </p:nvGraphicFramePr>
        <p:xfrm>
          <a:off x="332818" y="962536"/>
          <a:ext cx="8429228" cy="5338368"/>
        </p:xfrm>
        <a:graphic>
          <a:graphicData uri="http://schemas.openxmlformats.org/drawingml/2006/table">
            <a:tbl>
              <a:tblPr/>
              <a:tblGrid>
                <a:gridCol w="1713235">
                  <a:extLst>
                    <a:ext uri="{9D8B030D-6E8A-4147-A177-3AD203B41FA5}">
                      <a16:colId xmlns:a16="http://schemas.microsoft.com/office/drawing/2014/main" val="3833803508"/>
                    </a:ext>
                  </a:extLst>
                </a:gridCol>
                <a:gridCol w="1048919">
                  <a:extLst>
                    <a:ext uri="{9D8B030D-6E8A-4147-A177-3AD203B41FA5}">
                      <a16:colId xmlns:a16="http://schemas.microsoft.com/office/drawing/2014/main" val="2369917552"/>
                    </a:ext>
                  </a:extLst>
                </a:gridCol>
                <a:gridCol w="970249">
                  <a:extLst>
                    <a:ext uri="{9D8B030D-6E8A-4147-A177-3AD203B41FA5}">
                      <a16:colId xmlns:a16="http://schemas.microsoft.com/office/drawing/2014/main" val="395433815"/>
                    </a:ext>
                  </a:extLst>
                </a:gridCol>
                <a:gridCol w="967336">
                  <a:extLst>
                    <a:ext uri="{9D8B030D-6E8A-4147-A177-3AD203B41FA5}">
                      <a16:colId xmlns:a16="http://schemas.microsoft.com/office/drawing/2014/main" val="2535652466"/>
                    </a:ext>
                  </a:extLst>
                </a:gridCol>
                <a:gridCol w="1002301">
                  <a:extLst>
                    <a:ext uri="{9D8B030D-6E8A-4147-A177-3AD203B41FA5}">
                      <a16:colId xmlns:a16="http://schemas.microsoft.com/office/drawing/2014/main" val="3499561745"/>
                    </a:ext>
                  </a:extLst>
                </a:gridCol>
                <a:gridCol w="1363594">
                  <a:extLst>
                    <a:ext uri="{9D8B030D-6E8A-4147-A177-3AD203B41FA5}">
                      <a16:colId xmlns:a16="http://schemas.microsoft.com/office/drawing/2014/main" val="1892689286"/>
                    </a:ext>
                  </a:extLst>
                </a:gridCol>
                <a:gridCol w="1363594">
                  <a:extLst>
                    <a:ext uri="{9D8B030D-6E8A-4147-A177-3AD203B41FA5}">
                      <a16:colId xmlns:a16="http://schemas.microsoft.com/office/drawing/2014/main" val="1729999338"/>
                    </a:ext>
                  </a:extLst>
                </a:gridCol>
              </a:tblGrid>
              <a:tr h="21378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6986107"/>
                  </a:ext>
                </a:extLst>
              </a:tr>
              <a:tr h="21378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4039223"/>
                  </a:ext>
                </a:extLst>
              </a:tr>
              <a:tr h="18364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9351415"/>
                  </a:ext>
                </a:extLst>
              </a:tr>
              <a:tr h="21378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406616"/>
                  </a:ext>
                </a:extLst>
              </a:tr>
              <a:tr h="58027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204793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0001502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069096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225446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068749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598239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767238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979493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909690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190964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98379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3748159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006017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900943"/>
                  </a:ext>
                </a:extLst>
              </a:tr>
              <a:tr h="1985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9851405"/>
                  </a:ext>
                </a:extLst>
              </a:tr>
              <a:tr h="20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5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718759"/>
                  </a:ext>
                </a:extLst>
              </a:tr>
              <a:tr h="190880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740552"/>
                  </a:ext>
                </a:extLst>
              </a:tr>
              <a:tr h="1836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30660"/>
                  </a:ext>
                </a:extLst>
              </a:tr>
              <a:tr h="1836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4584210"/>
                  </a:ext>
                </a:extLst>
              </a:tr>
              <a:tr h="1908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5297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6.1.2022 11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344621"/>
              </p:ext>
            </p:extLst>
          </p:nvPr>
        </p:nvGraphicFramePr>
        <p:xfrm>
          <a:off x="1335139" y="1126073"/>
          <a:ext cx="6569146" cy="4851612"/>
        </p:xfrm>
        <a:graphic>
          <a:graphicData uri="http://schemas.openxmlformats.org/drawingml/2006/table">
            <a:tbl>
              <a:tblPr/>
              <a:tblGrid>
                <a:gridCol w="409908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82030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788029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10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 10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setín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7:3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družené zdravot. zařízení Krnov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, Nemocni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7:4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4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0:1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Královské Vinohrad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2:0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3:5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4991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avlíčkův Brod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4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928162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Jablonec nad Nisou, p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5:1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62399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um kardiovaskulární a transplantační chirurgie Brno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5:4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9538618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Šumperk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01.2022 10:2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4661796"/>
                  </a:ext>
                </a:extLst>
              </a:tr>
            </a:tbl>
          </a:graphicData>
        </a:graphic>
      </p:graphicFrame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čet </a:t>
            </a:r>
            <a:r>
              <a:rPr lang="cs-CZ" dirty="0" err="1" smtClean="0"/>
              <a:t>neaktualizací</a:t>
            </a:r>
            <a:r>
              <a:rPr lang="cs-CZ" dirty="0" smtClean="0"/>
              <a:t> </a:t>
            </a:r>
            <a:r>
              <a:rPr lang="cs-CZ" dirty="0"/>
              <a:t>ZZ v DIP déle než 48 </a:t>
            </a:r>
            <a:r>
              <a:rPr lang="cs-CZ" dirty="0" smtClean="0"/>
              <a:t>h od 16.12.2020</a:t>
            </a:r>
            <a:endParaRPr lang="cs-CZ" dirty="0"/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1261787"/>
              </p:ext>
            </p:extLst>
          </p:nvPr>
        </p:nvGraphicFramePr>
        <p:xfrm>
          <a:off x="1439983" y="1151426"/>
          <a:ext cx="6068648" cy="4860002"/>
        </p:xfrm>
        <a:graphic>
          <a:graphicData uri="http://schemas.openxmlformats.org/drawingml/2006/table">
            <a:tbl>
              <a:tblPr/>
              <a:tblGrid>
                <a:gridCol w="3824659">
                  <a:extLst>
                    <a:ext uri="{9D8B030D-6E8A-4147-A177-3AD203B41FA5}">
                      <a16:colId xmlns:a16="http://schemas.microsoft.com/office/drawing/2014/main" val="697873772"/>
                    </a:ext>
                  </a:extLst>
                </a:gridCol>
                <a:gridCol w="832675">
                  <a:extLst>
                    <a:ext uri="{9D8B030D-6E8A-4147-A177-3AD203B41FA5}">
                      <a16:colId xmlns:a16="http://schemas.microsoft.com/office/drawing/2014/main" val="1781024256"/>
                    </a:ext>
                  </a:extLst>
                </a:gridCol>
                <a:gridCol w="1411314">
                  <a:extLst>
                    <a:ext uri="{9D8B030D-6E8A-4147-A177-3AD203B41FA5}">
                      <a16:colId xmlns:a16="http://schemas.microsoft.com/office/drawing/2014/main" val="550393869"/>
                    </a:ext>
                  </a:extLst>
                </a:gridCol>
              </a:tblGrid>
              <a:tr h="80553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aktualizováno déle než 48 h od 16.12.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428344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1787569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é Město na Moravě, p.o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1704828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trakonice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Č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0814399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oměřížská nemocnice 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4299235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dská nemocnice 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1526226"/>
                  </a:ext>
                </a:extLst>
              </a:tr>
              <a:tr h="2738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552289"/>
                  </a:ext>
                </a:extLst>
              </a:tr>
              <a:tr h="2730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9164876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7653173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789362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 klinické a experimentální medicíny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5497987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9435134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České Budějovice, 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Č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965855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91017"/>
                  </a:ext>
                </a:extLst>
              </a:tr>
              <a:tr h="2692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5504092"/>
                  </a:ext>
                </a:extLst>
              </a:tr>
              <a:tr h="2761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ladno,a.s.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708925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8902337" y="4492489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5.1.2022 15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800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034958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6.1.2022 0:32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714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634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0,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17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0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8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64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0,4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33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 197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45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9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290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8,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5549693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6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803513" y="3472988"/>
            <a:ext cx="1095370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5.1. bylo 148 nově přijatých C+ pacientů a 226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DLP </a:t>
            </a:r>
            <a:r>
              <a:rPr lang="cs-CZ" dirty="0" smtClean="0"/>
              <a:t>– </a:t>
            </a:r>
            <a:r>
              <a:rPr lang="cs-CZ" dirty="0" smtClean="0"/>
              <a:t>Změny hodnocení </a:t>
            </a:r>
            <a:r>
              <a:rPr lang="cs-CZ" dirty="0" smtClean="0"/>
              <a:t>situace v krajích od KKIP 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2819" y="1107472"/>
            <a:ext cx="11487705" cy="5135066"/>
          </a:xfrm>
        </p:spPr>
        <p:txBody>
          <a:bodyPr>
            <a:normAutofit lnSpcReduction="10000"/>
          </a:bodyPr>
          <a:lstStyle/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PHA – pokles akutních příjmů C+ pac, kapacity zabírají long-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pac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stále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mezená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mírně uvolněna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, lůžka pro COVID+ s dostatečnou kapacitou při spíše nižším počtu příjmů. Část navýšených kapacit uzavřena, na úkor „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ektivy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“, udržována částečně navýšená kapacita standardní i IP péče v očekávání další vlny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epidemie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Č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zklidnění situace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a 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ZL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pokles C+ hospitalizovaných na standardu, JIP zatížené také méně, vysoký počet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a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non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pacientů na JIP, 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nelze spustit elektivní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perativu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UL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Stagnace C19 případů, vysoké počty na JIP. Očekávaný výpadek personálu v souvislosti s šířením varianty omikron způsobí velké problémy se zajištěním péče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a 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H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Dočasně pozastavena činnosti některých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+ jednotek, část COVID+ jednotek intenzivní péče pracuje nyní v hybridním režimu. Dočasně v závislosti na ZZ 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parciálně nebo plně obnovena operativa (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)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SK - ARO/JIP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velké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nožství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„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“ pacientů, většina z nich nadále na UPV a/anebo ECMO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pozastavena</a:t>
            </a:r>
            <a:endParaRPr lang="cs-CZ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JHČ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á do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20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VYS – celkové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omezena do 20%,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ále největší zátěž </a:t>
            </a:r>
            <a:r>
              <a:rPr lang="cs-CZ" sz="16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nem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Nové Město na Moravě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JHM –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omezena o více než 50%,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Vysoké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%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kovidů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na lůžkách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IP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LK –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nadále omezena o cca 60%,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řetrvávají </a:t>
            </a:r>
            <a:r>
              <a:rPr lang="pt-BR" sz="1600" dirty="0">
                <a:latin typeface="Segoe UI" panose="020B0502040204020203" pitchFamily="34" charset="0"/>
                <a:cs typeface="Segoe UI" panose="020B0502040204020203" pitchFamily="34" charset="0"/>
              </a:rPr>
              <a:t>postCOVid pacienti na </a:t>
            </a:r>
            <a:r>
              <a:rPr lang="pt-BR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IP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stan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by opatření s ohledem na vizi omikron mutace</a:t>
            </a:r>
            <a:endParaRPr lang="cs-CZ" sz="16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041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259</TotalTime>
  <Words>2493</Words>
  <Application>Microsoft Office PowerPoint</Application>
  <PresentationFormat>Širokoúhlá obrazovka</PresentationFormat>
  <Paragraphs>631</Paragraphs>
  <Slides>13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3</vt:i4>
      </vt:variant>
    </vt:vector>
  </HeadingPairs>
  <TitlesOfParts>
    <vt:vector size="20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čet neaktualizací ZZ v DIP déle než 48 h od 16.12.2020</vt:lpstr>
      <vt:lpstr>NDLP – Stav očkování u hospitalizovaných pacientů</vt:lpstr>
      <vt:lpstr>NDLP - Souhrn - aktualizace</vt:lpstr>
      <vt:lpstr>NDLP – Změny hodnocení situace v krajích od KKIP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837</cp:revision>
  <cp:lastPrinted>2020-10-20T04:21:56Z</cp:lastPrinted>
  <dcterms:created xsi:type="dcterms:W3CDTF">2020-07-15T10:33:32Z</dcterms:created>
  <dcterms:modified xsi:type="dcterms:W3CDTF">2022-01-06T10:43:09Z</dcterms:modified>
</cp:coreProperties>
</file>